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309" r:id="rId5"/>
    <p:sldId id="2147140442" r:id="rId6"/>
    <p:sldId id="2147140427" r:id="rId7"/>
    <p:sldId id="2147140394" r:id="rId8"/>
    <p:sldId id="2147140443" r:id="rId9"/>
    <p:sldId id="2147140456" r:id="rId10"/>
    <p:sldId id="2147140444" r:id="rId11"/>
    <p:sldId id="2147140398" r:id="rId12"/>
    <p:sldId id="2147140446" r:id="rId13"/>
    <p:sldId id="2147140447" r:id="rId14"/>
    <p:sldId id="2147140451" r:id="rId15"/>
    <p:sldId id="2147140453" r:id="rId16"/>
    <p:sldId id="2147140454" r:id="rId17"/>
    <p:sldId id="2147140452" r:id="rId18"/>
    <p:sldId id="2147140450" r:id="rId19"/>
    <p:sldId id="2147140455" r:id="rId20"/>
    <p:sldId id="2147140448" r:id="rId21"/>
    <p:sldId id="2147140449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309"/>
            <p14:sldId id="2147140442"/>
            <p14:sldId id="2147140427"/>
            <p14:sldId id="2147140394"/>
            <p14:sldId id="2147140443"/>
            <p14:sldId id="2147140456"/>
            <p14:sldId id="2147140444"/>
            <p14:sldId id="2147140398"/>
            <p14:sldId id="2147140446"/>
            <p14:sldId id="2147140447"/>
            <p14:sldId id="2147140451"/>
            <p14:sldId id="2147140453"/>
            <p14:sldId id="2147140454"/>
            <p14:sldId id="2147140452"/>
            <p14:sldId id="2147140450"/>
            <p14:sldId id="2147140455"/>
            <p14:sldId id="2147140448"/>
            <p14:sldId id="21471404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4" autoAdjust="0"/>
    <p:restoredTop sz="94694"/>
  </p:normalViewPr>
  <p:slideViewPr>
    <p:cSldViewPr snapToGrid="0">
      <p:cViewPr varScale="1">
        <p:scale>
          <a:sx n="59" d="100"/>
          <a:sy n="59" d="100"/>
        </p:scale>
        <p:origin x="96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3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8.svg"/><Relationship Id="rId11" Type="http://schemas.openxmlformats.org/officeDocument/2006/relationships/image" Target="../media/image31.png"/><Relationship Id="rId5" Type="http://schemas.openxmlformats.org/officeDocument/2006/relationships/image" Target="../media/image7.png"/><Relationship Id="rId10" Type="http://schemas.openxmlformats.org/officeDocument/2006/relationships/image" Target="../media/image30.svg"/><Relationship Id="rId4" Type="http://schemas.openxmlformats.org/officeDocument/2006/relationships/image" Target="../media/image1.emf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6.png"/><Relationship Id="rId4" Type="http://schemas.openxmlformats.org/officeDocument/2006/relationships/image" Target="../media/image1.emf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0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11" Type="http://schemas.openxmlformats.org/officeDocument/2006/relationships/image" Target="../media/image39.png"/><Relationship Id="rId5" Type="http://schemas.openxmlformats.org/officeDocument/2006/relationships/image" Target="../media/image7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8.svg"/><Relationship Id="rId11" Type="http://schemas.openxmlformats.org/officeDocument/2006/relationships/image" Target="../media/image43.png"/><Relationship Id="rId5" Type="http://schemas.openxmlformats.org/officeDocument/2006/relationships/image" Target="../media/image7.png"/><Relationship Id="rId10" Type="http://schemas.openxmlformats.org/officeDocument/2006/relationships/image" Target="../media/image42.svg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8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8.svg"/><Relationship Id="rId11" Type="http://schemas.openxmlformats.org/officeDocument/2006/relationships/image" Target="../media/image47.png"/><Relationship Id="rId5" Type="http://schemas.openxmlformats.org/officeDocument/2006/relationships/image" Target="../media/image7.png"/><Relationship Id="rId10" Type="http://schemas.openxmlformats.org/officeDocument/2006/relationships/image" Target="../media/image46.svg"/><Relationship Id="rId4" Type="http://schemas.openxmlformats.org/officeDocument/2006/relationships/image" Target="../media/image1.emf"/><Relationship Id="rId9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5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8.svg"/><Relationship Id="rId11" Type="http://schemas.openxmlformats.org/officeDocument/2006/relationships/image" Target="../media/image51.png"/><Relationship Id="rId5" Type="http://schemas.openxmlformats.org/officeDocument/2006/relationships/image" Target="../media/image7.png"/><Relationship Id="rId10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6" Type="http://schemas.openxmlformats.org/officeDocument/2006/relationships/image" Target="../media/image8.svg"/><Relationship Id="rId11" Type="http://schemas.openxmlformats.org/officeDocument/2006/relationships/image" Target="../media/image55.svg"/><Relationship Id="rId5" Type="http://schemas.openxmlformats.org/officeDocument/2006/relationships/image" Target="../media/image7.png"/><Relationship Id="rId10" Type="http://schemas.openxmlformats.org/officeDocument/2006/relationships/image" Target="../media/image54.png"/><Relationship Id="rId4" Type="http://schemas.openxmlformats.org/officeDocument/2006/relationships/image" Target="../media/image1.emf"/><Relationship Id="rId9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4.sv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Consolidated fiscal outlook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25/11/2025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ichael Brennan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DB00-7D82-1E27-DDD2-3EE02FBE6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179B99-DD4F-7903-6E7F-610F4A739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Extra slides</a:t>
            </a:r>
          </a:p>
        </p:txBody>
      </p:sp>
    </p:spTree>
    <p:extLst>
      <p:ext uri="{BB962C8B-B14F-4D97-AF65-F5344CB8AC3E}">
        <p14:creationId xmlns:p14="http://schemas.microsoft.com/office/powerpoint/2010/main" val="2679674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A2FF0-342E-2B09-4D4A-F6163B449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8C7C9D0-5161-7D4C-33A3-CE855AE9A4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CFB926-1715-7E06-7F6B-B3118E48F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888EA0D3-EA0D-11F4-C590-F2B71371C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17EFEC-7F46-DB9F-8748-D6B2C46CB7D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B4A697E-DB7F-DF66-E887-D5D6AA87C66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3EC4DE64-34FA-1602-41F0-4AA57CB38C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1EDE35C2-C3F2-2CBD-C34C-6BD02AED2BE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3A40356D-0CA4-0758-0211-164F292215FD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96AA43D-C75C-347A-5AEA-4595CBD3B04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8705B3FA-4AAB-23FA-7209-A774CA6807A9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AC175BF9-2F0E-63AB-48FB-C12A83367D9D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A5D741D0-C779-0C60-2309-8AEA3EBBDDC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FBA4D0A7-1D10-EE75-9172-B9539890B8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9B2F4AD-98CF-ABE7-6AAB-345EDB6009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FCC21DB-7902-66E3-AB5E-22011BC212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27DBA27-B069-0AAA-6BCE-2405333535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E3DB17A-7DD7-A51A-4B58-AEFDA3C1AE5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7B355F4-47F7-8162-6CCB-63BA17E861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D3F8981-DE6A-6785-B5D6-5FCAE2E477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C3EF6F-6B7A-4179-4EC4-CD45F2CBA9BF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Weak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49DFD08D-F5E5-CC26-D990-7AF520DFEF76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Partially compensated through export pric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089C948-9C72-BDF6-0880-A138E01691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0870" y="2308014"/>
            <a:ext cx="3558280" cy="386900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55450575-B224-94DA-9CAC-6F65E5AD54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4233" y="2308014"/>
            <a:ext cx="3628938" cy="371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524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B1E02-431D-3A05-1EA2-79A7FA332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3C73E9D-C09A-7411-48E2-13C948A6A4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0039A9-1524-D876-2639-CDE6EA7DC7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69D5F663-05FA-D432-1969-062061CD3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458840-DB99-FB71-7FBF-1CDCD0D715D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4F5F9E-1741-49B1-868F-F7507778E9A8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171E7AB4-BB9A-36B6-BA0E-067653E198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9EB95EA5-CA80-E9F7-1B6C-18F131B7495F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C2CEFDD-F4AA-A6F0-3FC1-5F52E9DBC49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8495CC8E-4201-0736-1CDB-46A307F895E9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827EA51-0288-6FFF-CA8A-2A00C4212146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A2A34CC-851B-B1CD-AD5D-CED4F4B33FF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10E82E51-DE77-0C15-07FF-7CEA17359144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3529EE3-0C29-EAC3-12AF-C6FA0F4C8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AEED54D-CFEA-CAFE-F143-B55DFBB8AF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8391913-998B-90B1-6F65-442DEB1BC83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0F1986FE-2E77-7475-C2A1-4D4591E337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289B16F-24D9-776B-42E0-19D24560EB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966040E8-4C02-C27F-FA25-B71D225D11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E365AAF-665C-6EC4-5DA1-7D60CEE7A5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A2893453-74C0-44E1-1C46-BB8066C3B91B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Relative income profile has “aged”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302E3198-6069-3F84-56C6-7B95F02B563B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inequity depends on the comparison</a:t>
            </a:r>
          </a:p>
        </p:txBody>
      </p:sp>
      <p:pic>
        <p:nvPicPr>
          <p:cNvPr id="4" name="Picture 3" descr="A graph of a change in fiscal transfer&#10;&#10;AI-generated content may be incorrect.">
            <a:extLst>
              <a:ext uri="{FF2B5EF4-FFF2-40B4-BE49-F238E27FC236}">
                <a16:creationId xmlns:a16="http://schemas.microsoft.com/office/drawing/2014/main" id="{4BAE5919-5AAE-CE50-892A-087FAF29A39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36" y="2147911"/>
            <a:ext cx="3782686" cy="4180864"/>
          </a:xfrm>
          <a:prstGeom prst="rect">
            <a:avLst/>
          </a:prstGeom>
        </p:spPr>
      </p:pic>
      <p:pic>
        <p:nvPicPr>
          <p:cNvPr id="8" name="Picture 7" descr="A graph of retirement age&#10;&#10;AI-generated content may be incorrect.">
            <a:extLst>
              <a:ext uri="{FF2B5EF4-FFF2-40B4-BE49-F238E27FC236}">
                <a16:creationId xmlns:a16="http://schemas.microsoft.com/office/drawing/2014/main" id="{64F87D2C-22E8-65C0-8047-11E6551C7C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361" y="2176352"/>
            <a:ext cx="3782686" cy="415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776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172B2-F9A7-67FD-996A-2E92EF5C2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3D1BF0E1-FEB4-A966-F778-42387F0230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3C73E9D-C09A-7411-48E2-13C948A6A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315CE7-CD3F-8021-DCF4-1123B361F0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2AB30312-365C-84B9-988A-51BA2265F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 and 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B5A81F7-F820-B8EF-9DCE-3D0386B0AFA6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3ECBEF-1DEE-783C-87B9-79288F54C0AB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AE22A8F6-2E9B-8FBB-FDB9-4F91A85A52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7594492-E69A-B4A5-F1EB-1A467E7CC672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E9D6344F-FF2A-27CC-2966-89DEFCF8B020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FCC39C7-8D79-4645-2657-E237940DD007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A49FF91D-5FD3-B920-60CE-2FB2033662A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7B49C79-1BD7-6B9A-1700-31FA1A707917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125C099-BCCA-D26A-D755-360316080F85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8C6270EB-B9F9-C36D-830E-6509275B21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A9663F1F-6282-04FC-A8F6-7286C06F91F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F69A6E7-1EA3-C954-2ACF-9796C94D46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B188E0C-7F5A-7C25-47C8-79CDCD3D414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6A30C5C7-9847-7C53-0280-DD6EA8B50A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5EFA46D-01B4-DC7F-DD10-EF74285FF4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3BE4F91-94C0-4AF9-566E-6649F67E5C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EFE8C32-DAC2-4F9F-4AD6-7ABB80B7BE28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0.6%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7628C13-2A72-8C2B-21B8-E091A3757BC0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1.8% productivity growth</a:t>
            </a:r>
          </a:p>
        </p:txBody>
      </p:sp>
      <p:pic>
        <p:nvPicPr>
          <p:cNvPr id="4" name="Picture 3" descr="A graph of growth and age&#10;&#10;AI-generated content may be incorrect.">
            <a:extLst>
              <a:ext uri="{FF2B5EF4-FFF2-40B4-BE49-F238E27FC236}">
                <a16:creationId xmlns:a16="http://schemas.microsoft.com/office/drawing/2014/main" id="{97C383ED-FD62-E008-0612-78B20F9C75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59" y="2335077"/>
            <a:ext cx="3574077" cy="3721877"/>
          </a:xfrm>
          <a:prstGeom prst="rect">
            <a:avLst/>
          </a:prstGeom>
        </p:spPr>
      </p:pic>
      <p:pic>
        <p:nvPicPr>
          <p:cNvPr id="8" name="Picture 7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84BFDB1-F28C-7C98-0A46-A4EEC5C8D03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461" y="2380704"/>
            <a:ext cx="3780435" cy="3936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4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27726-73C1-23A6-E9AF-98A6B6981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0A2E8F1E-1842-F77F-7760-528C222A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5EC533-C0E2-9187-4435-80C709F3E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8655878-27CA-162E-6EEC-ABD999953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-kind suppor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A1E894B-D93C-6C41-A03D-036249D15A1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AD406B-C94B-2FB3-7AF4-AFC8A8AF5CC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AFF9456-EA4C-F8A9-818B-F57423635A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267EEED6-E4D3-59A2-DA29-82DCE70D243D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61AB60D-4D62-120E-4CD6-A6F368AE98A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6F2329C-F9A2-6667-6D1D-F67D25BEF11E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21289D85-B1ED-0C6D-C794-56F19DBE67DB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8BB3EABF-3491-D873-09B0-B69CE4F47F9B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833AFD69-F09C-D70F-938F-D1857CDE5156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A2F6DFE4-8CD3-0614-798D-5681318357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5EC5151-198D-5407-AAFA-FE5308EB5A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92F84B20-7489-8A02-C1D0-29B58100EC7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71C231DC-8B91-AE59-15C8-094BCA17080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DA34061-8400-384A-0F29-320060DDC37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2E0D38C-58BB-5077-A186-22301FB7F7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868B2D4-57EB-E9BD-7C51-45D0D43BB12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54D6EBA-8FF2-24D2-C8A6-B7AA3AD3861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rising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B0A4BF51-A78D-8B40-FE91-702DE95A311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less progressiv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8E1D91-5F4E-8772-C88D-C7B77BB178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804" y="2114059"/>
            <a:ext cx="4714875" cy="36671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E5FDAD9-C1D2-3316-AB74-921AB7D10C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96805" y="2158010"/>
            <a:ext cx="4067175" cy="379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35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AFA8A-706A-912A-5490-736DA3B5A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3BAB46-1112-8984-5BC8-9124F95B7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D2E36D12-9D9B-B23E-708D-4467504B7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B8EA5-D7BB-6059-E23B-0E855F022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D7991A13-F989-1404-7E9E-FC1442DBF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ealth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1488ED6-DC45-F615-584E-ACE1C7128522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5482FA-340A-1E47-0638-D7E3A79AEB1D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266958B-685D-9A4A-C8D4-D55A322AE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DEF09040-22B4-0B7F-EB26-0BD96CA0228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16B42B6-836E-4A85-8B3B-5945B0E9E7C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E565E59F-90F8-3858-2F41-A9CED2FFDE58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33A39C18-C165-E94F-315E-D9F5E0DE7997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D5A881D5-B169-2520-0BB3-403520B7324F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6F316DD-0AE5-5A6D-DADB-7FC8C65F42A2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14AADAF6-44D0-BA8B-66A9-1BA1524F60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C4AFF95-C927-E4EC-FEF3-1261C9F9613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4060275C-AB24-3CD6-1027-6269414AE35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17DBB9F-B28B-A712-7D5E-CBD6E9F3C3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7C6EAD27-F06C-ACC8-1C30-AAC369288E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FDB1D613-6236-9BE6-5608-0B62465616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098991EB-6260-AF9B-78E9-5F3D575B7A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F7E3E4-7E07-1835-1635-B97243DC4E7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ealth spending has risen per person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985546B-325F-3F17-BC10-4C949772972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roughly in line with “benchmarks”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FD74C15-282C-AECA-F8BF-C95B64021E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67188" y="2484647"/>
            <a:ext cx="4839079" cy="296787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3EE6FC2-E599-2F2D-00EE-327DEE0007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4375" y="2329642"/>
            <a:ext cx="5038725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7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8A1B7-F23C-14D5-651F-95D089317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F774B250-B022-5025-620F-1C8B5BC14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88B576-C95D-01F2-EDFA-5D4015586F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0848EED-702B-2AC8-DD9E-6737B1342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ducation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BEC797-F7C0-1C28-2631-26A9F5FB3A7C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653976-3483-556E-F3D6-6823B4C834DE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ECE60E0-10B9-CDB3-C27B-B44863969E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ECD7953C-0DEF-B6CD-0B85-342F458B5AD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89954BBC-3B67-54D1-FBA8-957DC9A450B2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648AB385-F778-74BC-5BB9-4DE5648E21F1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90BDF4F-2083-89C7-0E51-8A713E10C7D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C42289D-F078-1E9D-4B05-99C7AB827C88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3F05EE21-E4CF-E0D3-9D53-783C4A5F9AD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9E18D7F-70BE-3DA3-A1AE-B56A1474B7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AE5240B-BB04-D535-C51F-21463385C6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229C717-F261-266A-FD59-4855799D26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96A3796-0BBD-1226-908D-50258BC473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C32AA766-3B57-B675-E224-5993C8C71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F738B0B-2CF7-A1AB-80F3-EC52BFC148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7ED32436-90E1-17F1-AD36-E5D26774B6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809096E1-AD05-FEDA-51C5-7DCA12EAE64E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Education spending has exceeded benchmark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888F04A-7CC0-357E-FDBE-60656D47BD9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School expenditure and PISA scor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891A526-F5D0-89FA-D4A0-C12FBDBA70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4465" y="2523285"/>
            <a:ext cx="5423688" cy="33264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E93082D-430C-0BB0-1A16-9E30D6C722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7196" y="2210629"/>
            <a:ext cx="4581202" cy="372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3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A455E-AA20-A859-F64A-91EB02E5B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29CA4ED7-2C23-7DE1-D171-66BF4ED07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978D9-2B09-19F7-D5F0-81804AB0AF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75B6D24B-E4C1-93CB-3289-C820E4D1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GT discou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3F2C44-A1DB-B0CF-1694-3AF04B0AAA70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2744EE-4962-4908-1FF8-3BD840D96DD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F8002CB1-06D3-39FF-4580-F2619B4C3D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C50CC06-F056-7544-1EB4-4F273FB60A45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1572D60A-0395-8064-3564-89E2575EBD01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4BF18A4C-120A-CB6D-5868-FDAF6B9CD68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10832F0-78CA-5256-8393-5A292D4BF83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5E29A443-1DB8-8EE2-61ED-5BF43CA7F0E4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61292301-6C84-4506-AB6A-46E3B36763C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6D157B7F-4E2D-9E37-BC3C-A29DFAFAD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78CE6B8-1B64-22E2-5665-FEE04EEF07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5D968F2-CD60-BA50-02AA-D468DCEFB86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A7C98C8-F938-C0E0-DB44-375B69EE50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D22BFE7-1CCA-A8BF-E38E-7C5B9B28BB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C7E35A0-E016-ABAD-BAE9-1A63954024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8DE5660-8695-0FED-806D-86359E2A5C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2333DD6C-82DA-7879-59AB-37C585C93A92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Y22 tax rat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63C4322F-2DEF-D51D-5FC7-61ECA3A70D4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Ten-year tax ra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C4E6934-FF7D-76C8-8ACA-140048DAAF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7296" y="2305598"/>
            <a:ext cx="4258777" cy="353898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236091B-4F96-54B3-82A0-32CCF4D10B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06454" y="2405993"/>
            <a:ext cx="3795440" cy="3613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89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83D65-9A4C-6B66-0584-CA583151D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D2E36D12-9D9B-B23E-708D-4467504B7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29CA4ED7-2C23-7DE1-D171-66BF4ED07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4F187-B305-C2C3-DAA3-F753B51DA1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58C78B6E-27B1-B5FC-F058-AD516B97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S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413490-B08E-D117-3CEC-A404685C87BA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E4CFA7-0520-3416-03FB-CE4764C775F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E1C5F95C-27C6-A5AD-6B13-22E8858CA3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78EDF119-31F2-BB9F-6BA3-52648D31EF0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0EA9334-AC49-1E47-52F2-83D6072A6369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BAC57E87-DF64-C52F-9D5B-4E1C414A9D7B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61B0879-1B08-570A-11BB-87B658A4055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B4FE3514-C047-E674-53F9-2B1D810ADD3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8F35278-9C98-7F0F-04EB-97D3A35EA7AF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9731757C-CED0-287A-F8B3-7AE7A47A0D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513ECDF-FFD4-6B06-EF72-6AD9085C8A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C69B455-CBEF-5239-944D-813A4AFA32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764E89A-0FF6-E9D0-28D4-26224CFF79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9577CA6-3DBF-B7F6-CF77-E0413AED02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2336D5A-8C1C-2CC3-11FF-3B7CFB8486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BD46BC7-702F-3AC1-1F8E-B5AB17C8E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E28F0874-23F8-029F-9192-06125338C19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urrent exemptions generate inequity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849238F3-1637-DB3C-E401-42EE5DA977A7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an solve while supporting those with low incomes</a:t>
            </a:r>
          </a:p>
        </p:txBody>
      </p:sp>
      <p:pic>
        <p:nvPicPr>
          <p:cNvPr id="4" name="Picture 3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92A123EE-6EF5-EDAB-4EAF-1F6A1F9884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72" y="2355085"/>
            <a:ext cx="3741793" cy="36433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6CADDBB-51FB-4308-BF0C-AF90D6D474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38024" y="2475629"/>
            <a:ext cx="3497407" cy="333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8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Fiscal outlook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is upon u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has influenced outcomes since 2010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fiscal implications truly started in 20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2EAF9F-B6C1-FB96-E63B-6088B465E3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0236" y="2176352"/>
            <a:ext cx="3842112" cy="41343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40C0458-FEAC-721D-481B-27CA56339A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3958" y="2246969"/>
            <a:ext cx="4107752" cy="415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boy that cried wolf?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BD64CCB-0554-76B7-5C0F-BD3776B435F1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ederal projections show restraint</a:t>
            </a:r>
          </a:p>
        </p:txBody>
      </p:sp>
      <p:sp>
        <p:nvSpPr>
          <p:cNvPr id="4" name="Text Placeholder 89">
            <a:extLst>
              <a:ext uri="{FF2B5EF4-FFF2-40B4-BE49-F238E27FC236}">
                <a16:creationId xmlns:a16="http://schemas.microsoft.com/office/drawing/2014/main" id="{B54EA1E1-3D0F-01A7-FF0C-7B7ABDA072CF}"/>
              </a:ext>
            </a:extLst>
          </p:cNvPr>
          <p:cNvSpPr txBox="1">
            <a:spLocks/>
          </p:cNvSpPr>
          <p:nvPr/>
        </p:nvSpPr>
        <p:spPr>
          <a:xfrm>
            <a:off x="6957801" y="1284033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igh commodity prices have funded spending expan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3550E3E-CECA-F9E1-4A83-7430C891006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1D51BC-CF41-54D5-CBEC-6EC4B606F0E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67FF0F73-EE7A-67DC-CE7C-650A02E6C9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7801" y="2078897"/>
            <a:ext cx="4094018" cy="405942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0A94D96-B222-178E-5437-91DD80EFE4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148" y="2097038"/>
            <a:ext cx="4317373" cy="411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2C6-915F-21A0-A7F7-EC8216AB4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F3B52-914F-9FD2-881C-59ED04C9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572344-B942-AA4F-C1DF-0AE24F6C26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BA44A4F0-78D1-9360-9D9F-8F8C513A8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CEA6DFC-7ACE-E57F-1E3F-49CCA521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tes are the canary in the coal mine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9032040D-2202-EE83-7634-D3904CAB98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8DD82D7D-54E4-10B1-64A6-B873554881F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6A5227AD-D719-1F26-6F6D-1D800FD91D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BD0D50E2-88E8-FF5F-6698-895FB4328DFC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22817FD7-C9D7-AC10-4C76-F80518B6E7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C210B9D9-BCC4-01AD-10B7-A7D77F748577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FAB102E-69AE-400A-DAF0-F5DD9A15619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is increasing expenditure on health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579CAA5-6176-2E57-4E55-A727BBC36FC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BB4F86FE-D52F-4802-A9D5-E814111FCFC3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nsolidated debt projected to keep ris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627720-8D5B-56AC-3C2E-4EE6787E7D1D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EE9A1708-46B1-05CF-5A93-FC5382DA4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4292" y="2105632"/>
            <a:ext cx="4427792" cy="435295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B46A99-6090-CE89-E00D-5356AD9699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8755" y="2280271"/>
            <a:ext cx="4714875" cy="372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15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02ECA-07C9-46FB-8E39-1CB02BC52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2F7C85-E523-05E0-6950-B2D8ED1A36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F3B52-914F-9FD2-881C-59ED04C93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276936-83A7-41D0-FB9B-D3C5D08DD5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43D3FF97-9148-411A-45F4-FCCDBA028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E69F4C8-AD6A-426A-D40B-A05C3D003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ax system straining to meet these demands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C958C8E0-2F81-A05A-9A5F-49EC787609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BF6E298C-2974-2746-CBA9-EC04C2D0E688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05347CF8-9083-CEE6-6317-3F2F216BD9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CB81F284-2565-BA4B-55B4-4E68A8B55AEB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A2573F3B-77CF-BDBD-FC40-B1BDE59F58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090BB24B-530B-6E76-1058-28863876D583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102155F8-B4CA-9632-AB54-1ADA0F0D39D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come tax burdens expected to ris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1475884-C7FD-3C93-035A-D5DB5C30BA8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D4498A6C-DADB-F8E6-F90C-3CAF3BB299D5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racket creep the mechanis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FEDDFF-0B33-0589-908E-E6F8EF81C966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0" name="Picture 9" descr="A graph on a white background&#10;&#10;AI-generated content may be incorrect.">
            <a:extLst>
              <a:ext uri="{FF2B5EF4-FFF2-40B4-BE49-F238E27FC236}">
                <a16:creationId xmlns:a16="http://schemas.microsoft.com/office/drawing/2014/main" id="{85A36C24-088C-E27F-84D4-8884AFFD46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880" y="2177934"/>
            <a:ext cx="3545898" cy="4052455"/>
          </a:xfrm>
          <a:prstGeom prst="rect">
            <a:avLst/>
          </a:prstGeom>
        </p:spPr>
      </p:pic>
      <p:pic>
        <p:nvPicPr>
          <p:cNvPr id="13" name="Picture 12" descr="A graph on a white paper&#10;&#10;AI-generated content may be incorrect.">
            <a:extLst>
              <a:ext uri="{FF2B5EF4-FFF2-40B4-BE49-F238E27FC236}">
                <a16:creationId xmlns:a16="http://schemas.microsoft.com/office/drawing/2014/main" id="{D0AFB340-89E8-5549-82FE-1BD671C0AAD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880" y="2177935"/>
            <a:ext cx="3488520" cy="405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056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526DC-F222-4870-D13B-13C14B76C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3A62B-8B78-7902-F2FA-BF15A9CEFB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Solutions for the fiscal problem</a:t>
            </a:r>
          </a:p>
        </p:txBody>
      </p:sp>
    </p:spTree>
    <p:extLst>
      <p:ext uri="{BB962C8B-B14F-4D97-AF65-F5344CB8AC3E}">
        <p14:creationId xmlns:p14="http://schemas.microsoft.com/office/powerpoint/2010/main" val="728821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ough choices on spending restraint or …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Universal supports are expensi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DIS and universal child care are significant expenditures to support individuals through expensive parts of their life.</a:t>
            </a:r>
          </a:p>
          <a:p>
            <a:pPr>
              <a:defRPr/>
            </a:pPr>
            <a:r>
              <a:rPr lang="en-US" dirty="0"/>
              <a:t>However, due to the size of the payments and the lack of means testing these are expenses policies that are poorly targeted to those who require support to access the servic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imary and secondary school spending has risen sharply per student – without clear improvements in student outcomes.</a:t>
            </a:r>
          </a:p>
          <a:p>
            <a:pPr>
              <a:defRPr/>
            </a:pPr>
            <a:r>
              <a:rPr lang="en-US" dirty="0"/>
              <a:t>Appears to be partially about spending inertia – expenditure as a % of GDP has stayed the same, as young students have become a smaller share of the population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ECD (2007) notes that accounting treatment can drive spending towards less transparent “off-budget” categories.</a:t>
            </a:r>
          </a:p>
          <a:p>
            <a:pPr>
              <a:defRPr/>
            </a:pPr>
            <a:r>
              <a:rPr lang="en-US" dirty="0"/>
              <a:t>In the Australian case this stems from a loose definition around investment.</a:t>
            </a:r>
          </a:p>
          <a:p>
            <a:pPr>
              <a:defRPr/>
            </a:pPr>
            <a:r>
              <a:rPr lang="en-US" dirty="0"/>
              <a:t>Student loan relief a major example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Education spending per student has surged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Off-budget spending is a concern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8CE01-1ED1-355D-E45E-6F0FAA384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89D2005-5054-7CC2-64C0-CCDD00494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6D9CB9-0D0C-9BDF-993B-6B211BC5CD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6096F-1790-C0E1-2255-B7458C2D5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493DBD68-2B2A-7F56-6685-B42F977A5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… raising tax at the lowest (economic) cost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D838F753-233B-A5AB-B725-F38C719E5724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Taxation of savings is inconsist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46B1E9-660E-E523-90A6-59714A9DCE8A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A41367-B8DC-15D8-3367-80D811854BE7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D469E233-31F6-01D1-C50F-074E30CEE8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A89476A2-9D84-2541-E38D-AD464741B7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1B56883E-BDCD-4C33-2ECE-662B2DAD008B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794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fferent decisions to save or invest are treated very differently by the Australian tax system – due to piecemeal reforms and simplification.</a:t>
            </a:r>
          </a:p>
          <a:p>
            <a:pPr>
              <a:defRPr/>
            </a:pPr>
            <a:r>
              <a:rPr lang="en-US" dirty="0"/>
              <a:t>Superannuation concessions.</a:t>
            </a:r>
          </a:p>
          <a:p>
            <a:pPr>
              <a:defRPr/>
            </a:pPr>
            <a:r>
              <a:rPr lang="en-US" dirty="0"/>
              <a:t>CGT discount has a confused purpose and is oversimplified – although solving is not necessarily revenue positiv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6E3F81E9-AB96-D515-D03D-4BE0BDE7FEF8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s who earn and spend the same amount are paying vastly different tax rates through GST.</a:t>
            </a:r>
          </a:p>
          <a:p>
            <a:pPr>
              <a:defRPr/>
            </a:pPr>
            <a:r>
              <a:rPr lang="en-US" dirty="0"/>
              <a:t>Can broaden the base and support low-income earners to make a more efficient system that doesn’t penalize those without sufficient means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2B60F44B-06C0-B2AE-3286-D6B21C96DD2E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rbon taxes.</a:t>
            </a:r>
          </a:p>
          <a:p>
            <a:r>
              <a:rPr lang="en-US" dirty="0"/>
              <a:t>Treatment of addictive substances and black market activity (i.e. tobacco)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8095CA-B7E6-2EA5-BF44-8862336D3F64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3449"/>
            <a:ext cx="536836" cy="853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968FDD5-06E4-E05F-E1F5-B9713F7437B1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7D56B38-0B0C-2F1D-117C-C876D3DF8081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0D618ED7-E93E-3C7A-BAAB-7DDDED562AF2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Taxation of consumption is inequitable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C8A52E34-F0B6-F058-F2C1-ED718685E7C2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Excise/corrective taxes are piecemeal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FD0EF49-BEE8-C6DE-4BA5-DA9F1348F20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041F8B3C-42D9-E02C-D12A-5E2127BC16D8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7679D8D8-2A68-D9CF-8F0F-CFFFFDE60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87635D00-9408-EEBD-D918-E7F1E7495E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0A099584-A0A1-3827-7CB7-02742C368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69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2)</Template>
  <TotalTime>647</TotalTime>
  <Words>631</Words>
  <Application>Microsoft Office PowerPoint</Application>
  <PresentationFormat>Widescreen</PresentationFormat>
  <Paragraphs>149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Consolidated fiscal outlook</vt:lpstr>
      <vt:lpstr>PowerPoint Presentation</vt:lpstr>
      <vt:lpstr>Ageing is upon us</vt:lpstr>
      <vt:lpstr>Ageing boy that cried wolf?</vt:lpstr>
      <vt:lpstr>States are the canary in the coal mine</vt:lpstr>
      <vt:lpstr>Tax system straining to meet these demands</vt:lpstr>
      <vt:lpstr>PowerPoint Presentation</vt:lpstr>
      <vt:lpstr>Tough choices on spending restraint or …</vt:lpstr>
      <vt:lpstr>… raising tax at the lowest (economic) cost</vt:lpstr>
      <vt:lpstr>PowerPoint Presentation</vt:lpstr>
      <vt:lpstr>Productivity</vt:lpstr>
      <vt:lpstr>Intergenerational equity</vt:lpstr>
      <vt:lpstr>Intergenerational equity and productivity</vt:lpstr>
      <vt:lpstr>In-kind supports</vt:lpstr>
      <vt:lpstr>Health spending</vt:lpstr>
      <vt:lpstr>Education spending</vt:lpstr>
      <vt:lpstr>CGT discount</vt:lpstr>
      <vt:lpstr>G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 Nolan</cp:lastModifiedBy>
  <cp:revision>17</cp:revision>
  <dcterms:created xsi:type="dcterms:W3CDTF">2025-11-17T22:22:05Z</dcterms:created>
  <dcterms:modified xsi:type="dcterms:W3CDTF">2025-11-24T08:1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